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umari, Smrti" initials="KS" lastIdx="1" clrIdx="0">
    <p:extLst>
      <p:ext uri="{19B8F6BF-5375-455C-9EA6-DF929625EA0E}">
        <p15:presenceInfo xmlns:p15="http://schemas.microsoft.com/office/powerpoint/2012/main" userId="S::smrti.kumari@capgemini.com::4bac195a-3e82-4ff8-be39-96c89a867f0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59F92C-3804-4739-BF5C-AAEB2E9E86EE}" v="7" dt="2022-11-09T07:09:44.0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85" d="100"/>
          <a:sy n="85" d="100"/>
        </p:scale>
        <p:origin x="774" y="90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gam, Kavitha" userId="8cf90f47-b0e2-4044-a2d2-4549f9a89e8f" providerId="ADAL" clId="{E459F92C-3804-4739-BF5C-AAEB2E9E86EE}"/>
    <pc:docChg chg="modSld">
      <pc:chgData name="Nagam, Kavitha" userId="8cf90f47-b0e2-4044-a2d2-4549f9a89e8f" providerId="ADAL" clId="{E459F92C-3804-4739-BF5C-AAEB2E9E86EE}" dt="2022-11-09T10:25:17.202" v="50" actId="20577"/>
      <pc:docMkLst>
        <pc:docMk/>
      </pc:docMkLst>
      <pc:sldChg chg="modSp mod">
        <pc:chgData name="Nagam, Kavitha" userId="8cf90f47-b0e2-4044-a2d2-4549f9a89e8f" providerId="ADAL" clId="{E459F92C-3804-4739-BF5C-AAEB2E9E86EE}" dt="2022-11-09T10:25:17.202" v="50" actId="20577"/>
        <pc:sldMkLst>
          <pc:docMk/>
          <pc:sldMk cId="0" sldId="560"/>
        </pc:sldMkLst>
        <pc:spChg chg="mod">
          <ac:chgData name="Nagam, Kavitha" userId="8cf90f47-b0e2-4044-a2d2-4549f9a89e8f" providerId="ADAL" clId="{E459F92C-3804-4739-BF5C-AAEB2E9E86EE}" dt="2022-11-09T10:25:17.202" v="50" actId="20577"/>
          <ac:spMkLst>
            <pc:docMk/>
            <pc:sldMk cId="0" sldId="560"/>
            <ac:spMk id="7170" creationId="{4EF0A5D5-CB77-4BCF-86BB-EC8AFA4AA0E3}"/>
          </ac:spMkLst>
        </pc:spChg>
        <pc:spChg chg="mod">
          <ac:chgData name="Nagam, Kavitha" userId="8cf90f47-b0e2-4044-a2d2-4549f9a89e8f" providerId="ADAL" clId="{E459F92C-3804-4739-BF5C-AAEB2E9E86EE}" dt="2022-11-09T07:18:41.392" v="25" actId="1076"/>
          <ac:spMkLst>
            <pc:docMk/>
            <pc:sldMk cId="0" sldId="560"/>
            <ac:spMk id="7171" creationId="{FF4CCF3B-4887-442F-A757-E5908FA1808D}"/>
          </ac:spMkLst>
        </pc:spChg>
        <pc:spChg chg="mod">
          <ac:chgData name="Nagam, Kavitha" userId="8cf90f47-b0e2-4044-a2d2-4549f9a89e8f" providerId="ADAL" clId="{E459F92C-3804-4739-BF5C-AAEB2E9E86EE}" dt="2022-11-09T07:18:57.601" v="31" actId="1076"/>
          <ac:spMkLst>
            <pc:docMk/>
            <pc:sldMk cId="0" sldId="560"/>
            <ac:spMk id="7172" creationId="{994FC039-D8C9-4401-93CE-88467263C848}"/>
          </ac:spMkLst>
        </pc:spChg>
        <pc:spChg chg="mod">
          <ac:chgData name="Nagam, Kavitha" userId="8cf90f47-b0e2-4044-a2d2-4549f9a89e8f" providerId="ADAL" clId="{E459F92C-3804-4739-BF5C-AAEB2E9E86EE}" dt="2022-11-09T07:06:41.785" v="14" actId="20577"/>
          <ac:spMkLst>
            <pc:docMk/>
            <pc:sldMk cId="0" sldId="560"/>
            <ac:spMk id="7176" creationId="{943087BE-AA11-4C96-BA02-329B45C19DDE}"/>
          </ac:spMkLst>
        </pc:spChg>
        <pc:spChg chg="mod">
          <ac:chgData name="Nagam, Kavitha" userId="8cf90f47-b0e2-4044-a2d2-4549f9a89e8f" providerId="ADAL" clId="{E459F92C-3804-4739-BF5C-AAEB2E9E86EE}" dt="2022-11-09T07:09:44.063" v="21" actId="14100"/>
          <ac:spMkLst>
            <pc:docMk/>
            <pc:sldMk cId="0" sldId="560"/>
            <ac:spMk id="7183" creationId="{B8C26D43-3971-4B32-9403-96D3E3AC5656}"/>
          </ac:spMkLst>
        </pc:spChg>
        <pc:picChg chg="mod">
          <ac:chgData name="Nagam, Kavitha" userId="8cf90f47-b0e2-4044-a2d2-4549f9a89e8f" providerId="ADAL" clId="{E459F92C-3804-4739-BF5C-AAEB2E9E86EE}" dt="2022-11-09T07:18:56.533" v="30" actId="1076"/>
          <ac:picMkLst>
            <pc:docMk/>
            <pc:sldMk cId="0" sldId="560"/>
            <ac:picMk id="5" creationId="{74F59C38-AED3-9862-7A68-52D93B44A745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9/11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9/11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Varshashree.n-k@capgemini.com" TargetMode="External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5" Type="http://schemas.openxmlformats.org/officeDocument/2006/relationships/hyperlink" Target="https://www.linkedin.com/in/kavitha-nagam-9b41a8249" TargetMode="Externa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727848" y="3146680"/>
            <a:ext cx="4008437" cy="3420641"/>
          </a:xfrm>
        </p:spPr>
        <p:txBody>
          <a:bodyPr/>
          <a:lstStyle/>
          <a:p>
            <a:pPr eaLnBrk="1" hangingPunct="1">
              <a:lnSpc>
                <a:spcPct val="114000"/>
              </a:lnSpc>
            </a:pPr>
            <a:r>
              <a:rPr lang="en-US" altLang="en-US" sz="1100" b="1" dirty="0"/>
              <a:t>Payment Wallet Application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sz="1100" dirty="0"/>
              <a:t>Completed end to end case study of Payment Wallet Application with  the help of Spring boot and Postgre SQL database, Angular framework used for user interface</a:t>
            </a:r>
            <a:r>
              <a:rPr lang="en-US" altLang="en-US" sz="1100" dirty="0"/>
              <a:t>.</a:t>
            </a:r>
          </a:p>
          <a:p>
            <a:pPr>
              <a:lnSpc>
                <a:spcPct val="114000"/>
              </a:lnSpc>
            </a:pPr>
            <a:r>
              <a:rPr lang="en-US" altLang="nl-NL" sz="1100" b="1" dirty="0"/>
              <a:t>Designed Static and Dynamic Web Pages</a:t>
            </a:r>
            <a:endParaRPr lang="en-US" altLang="nl-NL" sz="1100" dirty="0"/>
          </a:p>
          <a:p>
            <a:pPr marL="88900" lvl="1" indent="0">
              <a:buNone/>
            </a:pPr>
            <a:r>
              <a:rPr lang="en-US" sz="1100" dirty="0"/>
              <a:t>Payment wallet </a:t>
            </a:r>
            <a:r>
              <a:rPr lang="en-US" sz="1100"/>
              <a:t>application will </a:t>
            </a:r>
            <a:r>
              <a:rPr lang="en-IN" sz="1100" b="0" i="0" u="none" strike="noStrike" baseline="0">
                <a:solidFill>
                  <a:srgbClr val="000000"/>
                </a:solidFill>
              </a:rPr>
              <a:t>provide </a:t>
            </a:r>
            <a:r>
              <a:rPr lang="en-IN" sz="1100" b="0" i="0" u="none" strike="noStrike" baseline="0" dirty="0">
                <a:solidFill>
                  <a:srgbClr val="000000"/>
                </a:solidFill>
              </a:rPr>
              <a:t>online services to the customers in order to transfer money ,pay bills, store amount in their wallet etc. 	</a:t>
            </a:r>
            <a:endParaRPr lang="en-US" sz="1100" dirty="0"/>
          </a:p>
          <a:p>
            <a:pPr marL="88900" lvl="1" indent="0">
              <a:buNone/>
            </a:pPr>
            <a:r>
              <a:rPr lang="en-US" sz="1100" dirty="0"/>
              <a:t>Developed website with HTML5 and CSS3 along with Angular framework to make website interactive and colorful.</a:t>
            </a:r>
            <a:endParaRPr lang="en-IN" sz="1100" dirty="0"/>
          </a:p>
          <a:p>
            <a:pPr>
              <a:lnSpc>
                <a:spcPct val="114000"/>
              </a:lnSpc>
            </a:pPr>
            <a:endParaRPr lang="en-IN" altLang="nl-NL" sz="1100" b="1" dirty="0"/>
          </a:p>
          <a:p>
            <a:pPr eaLnBrk="1" hangingPunct="1">
              <a:lnSpc>
                <a:spcPct val="114000"/>
              </a:lnSpc>
            </a:pPr>
            <a:endParaRPr lang="en-IN" altLang="en-US" sz="1100" baseline="-25000" dirty="0"/>
          </a:p>
          <a:p>
            <a:pPr eaLnBrk="1" hangingPunct="1">
              <a:lnSpc>
                <a:spcPct val="114000"/>
              </a:lnSpc>
            </a:pPr>
            <a:endParaRPr lang="en-US" altLang="nl-NL" sz="1100" b="1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US" altLang="nl-NL" sz="1100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sz="1100" dirty="0"/>
            </a:br>
            <a:br>
              <a:rPr lang="en-US" altLang="nl-NL" sz="1100" dirty="0"/>
            </a:br>
            <a:endParaRPr lang="nl-NL" altLang="nl-NL" sz="1100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282" y="756492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51121" y="1404476"/>
            <a:ext cx="2374900" cy="147632"/>
          </a:xfrm>
        </p:spPr>
        <p:txBody>
          <a:bodyPr/>
          <a:lstStyle/>
          <a:p>
            <a:pPr eaLnBrk="1" hangingPunct="1"/>
            <a:r>
              <a:rPr lang="nl-NL" altLang="nl-NL" dirty="0"/>
              <a:t>Hyderabad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73296" y="1595226"/>
            <a:ext cx="2373313" cy="213181"/>
          </a:xfrm>
        </p:spPr>
        <p:txBody>
          <a:bodyPr/>
          <a:lstStyle/>
          <a:p>
            <a:pPr eaLnBrk="1" hangingPunct="1"/>
            <a:r>
              <a:rPr lang="nl-NL" altLang="nl-NL" dirty="0">
                <a:hlinkClick r:id="rId3"/>
              </a:rPr>
              <a:t>Kavitha.nagam@capgemini.com</a:t>
            </a:r>
            <a:r>
              <a:rPr lang="nl-NL" altLang="nl-NL" dirty="0"/>
              <a:t> 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89646" y="1837796"/>
            <a:ext cx="2316822" cy="280113"/>
          </a:xfrm>
        </p:spPr>
        <p:txBody>
          <a:bodyPr/>
          <a:lstStyle/>
          <a:p>
            <a:pPr eaLnBrk="1" hangingPunct="1"/>
            <a:r>
              <a:rPr lang="nl-NL" altLang="nl-NL" dirty="0"/>
              <a:t>+91 7997166788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68275" y="2955341"/>
            <a:ext cx="4321573" cy="3705820"/>
          </a:xfrm>
        </p:spPr>
        <p:txBody>
          <a:bodyPr/>
          <a:lstStyle/>
          <a:p>
            <a:r>
              <a:rPr lang="en-US" altLang="en-US" sz="1100" dirty="0"/>
              <a:t> </a:t>
            </a:r>
            <a:r>
              <a:rPr lang="en-US" altLang="en-US" sz="1100" b="1" dirty="0"/>
              <a:t>Full Stack Develop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Hands on experience in developing web pages using </a:t>
            </a:r>
            <a:r>
              <a:rPr lang="en-US" sz="1100" b="1" dirty="0"/>
              <a:t>HTML5, CSS3, Object Oriented Java script, ES6,  JSON, XML</a:t>
            </a:r>
            <a:r>
              <a:rPr lang="en-US" sz="1100" dirty="0"/>
              <a:t>. </a:t>
            </a:r>
            <a:endParaRPr lang="en-US" alt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Has working knowledge on AngularJS , Java Development using Spring framework on an intermediate level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Software Engineer who is Strong in design and integration with intuitive problem-solving skills. Passionate about implementing and launching new projects</a:t>
            </a:r>
            <a:r>
              <a:rPr lang="en-US" altLang="en-US" sz="1000" dirty="0"/>
              <a:t>.</a:t>
            </a:r>
          </a:p>
          <a:p>
            <a:br>
              <a:rPr lang="en-US" altLang="nl-NL" dirty="0"/>
            </a:br>
            <a:endParaRPr lang="en-US" altLang="nl-NL" dirty="0"/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900"/>
            <a:ext cx="2717800" cy="6113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lvl="0">
              <a:lnSpc>
                <a:spcPct val="114000"/>
              </a:lnSpc>
              <a:defRPr/>
            </a:pPr>
            <a:r>
              <a:rPr lang="en-US" altLang="nl-NL" sz="1000" dirty="0">
                <a:solidFill>
                  <a:prstClr val="black"/>
                </a:solidFill>
                <a:latin typeface="Verdana" panose="020B0604030504040204" pitchFamily="34" charset="0"/>
              </a:rPr>
              <a:t>Bachelor of Engineering </a:t>
            </a:r>
          </a:p>
          <a:p>
            <a:pPr lvl="0">
              <a:lnSpc>
                <a:spcPct val="114000"/>
              </a:lnSpc>
              <a:defRPr/>
            </a:pPr>
            <a:r>
              <a:rPr lang="en-US" altLang="nl-NL" sz="1000" dirty="0">
                <a:solidFill>
                  <a:prstClr val="black"/>
                </a:solidFill>
              </a:rPr>
              <a:t>Electrical &amp; Electronics </a:t>
            </a:r>
            <a:r>
              <a:rPr lang="en-US" altLang="nl-NL" sz="1000" dirty="0"/>
              <a:t>: 2017- 2021</a:t>
            </a:r>
          </a:p>
          <a:p>
            <a:pPr>
              <a:lnSpc>
                <a:spcPct val="114000"/>
              </a:lnSpc>
            </a:pP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en-US" sz="1000" dirty="0"/>
              <a:t>Apigee</a:t>
            </a: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Java 8 /J2E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JPA CRUD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00" b="1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Backend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ibernat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REST-API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Database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QL database – MySQL,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gres SQL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Web Technologie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JavaScrip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On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ood 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pic>
        <p:nvPicPr>
          <p:cNvPr id="7179" name="Picture 7"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2968115" y="6361453"/>
            <a:ext cx="421531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0" name="TextBox 3">
            <a:extLst>
              <a:ext uri="{FF2B5EF4-FFF2-40B4-BE49-F238E27FC236}">
                <a16:creationId xmlns:a16="http://schemas.microsoft.com/office/drawing/2014/main" id="{273FF0AF-5E94-435C-8A2A-7A7CA0FE36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03684" y="6405273"/>
            <a:ext cx="349420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n-IN" altLang="en-US" sz="1100" dirty="0"/>
              <a:t>Check out my work on GitHub &amp; Video Profile</a:t>
            </a:r>
          </a:p>
        </p:txBody>
      </p:sp>
      <p:pic>
        <p:nvPicPr>
          <p:cNvPr id="7182" name="Picture 4" descr="Free icon download | Linkedin">
            <a:hlinkClick r:id="rId5"/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1075" y="1615742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2990393" y="2002896"/>
            <a:ext cx="2373313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3B988C9-7F0C-402B-84F7-AA872A7D606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en-US" dirty="0"/>
              <a:t>KAVITHA NAGAM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74F59C38-AED3-9862-7A68-52D93B44A745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4516" y="444030"/>
            <a:ext cx="1270635" cy="1557032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2EFE742-3A8E-4E5A-B843-9354826E5980}">
  <ds:schemaRefs>
    <ds:schemaRef ds:uri="fd33c62d-2c11-46e7-88a2-e90fa986d9d0"/>
    <ds:schemaRef ds:uri="http://purl.org/dc/elements/1.1/"/>
    <ds:schemaRef ds:uri="http://schemas.microsoft.com/office/2006/metadata/properties"/>
    <ds:schemaRef ds:uri="http://schemas.microsoft.com/office/2006/documentManagement/types"/>
    <ds:schemaRef ds:uri="47da6acf-edf2-43bc-9595-f721a214a14e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2054</TotalTime>
  <Words>254</Words>
  <Application>Microsoft Office PowerPoint</Application>
  <PresentationFormat>Widescreen</PresentationFormat>
  <Paragraphs>7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Nagam, Kavitha</cp:lastModifiedBy>
  <cp:revision>131</cp:revision>
  <dcterms:created xsi:type="dcterms:W3CDTF">2017-12-08T05:27:40Z</dcterms:created>
  <dcterms:modified xsi:type="dcterms:W3CDTF">2022-11-09T10:2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